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Override1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8"/>
  </p:notesMasterIdLst>
  <p:sldIdLst>
    <p:sldId id="262" r:id="rId2"/>
    <p:sldId id="259" r:id="rId3"/>
    <p:sldId id="260" r:id="rId4"/>
    <p:sldId id="257" r:id="rId5"/>
    <p:sldId id="258" r:id="rId6"/>
    <p:sldId id="261" r:id="rId7"/>
  </p:sldIdLst>
  <p:sldSz cx="9144000" cy="6858000" type="screen4x3"/>
  <p:notesSz cx="7315200" cy="9601200"/>
  <p:custDataLst>
    <p:tags r:id="rId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672">
          <p15:clr>
            <a:srgbClr val="A4A3A4"/>
          </p15:clr>
        </p15:guide>
        <p15:guide id="2" orient="horz" pos="3936">
          <p15:clr>
            <a:srgbClr val="A4A3A4"/>
          </p15:clr>
        </p15:guide>
        <p15:guide id="3" pos="217">
          <p15:clr>
            <a:srgbClr val="A4A3A4"/>
          </p15:clr>
        </p15:guide>
        <p15:guide id="4" pos="5568">
          <p15:clr>
            <a:srgbClr val="A4A3A4"/>
          </p15:clr>
        </p15:guide>
        <p15:guide id="5" pos="143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4554"/>
    <a:srgbClr val="B7A66D"/>
    <a:srgbClr val="3F344A"/>
    <a:srgbClr val="F4AF00"/>
    <a:srgbClr val="500000"/>
    <a:srgbClr val="1D3362"/>
    <a:srgbClr val="D1D1D1"/>
    <a:srgbClr val="8F8F8C"/>
    <a:srgbClr val="F6F4EE"/>
    <a:srgbClr val="5F57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>
    <p:restoredLeft sz="8662" autoAdjust="0"/>
    <p:restoredTop sz="96149" autoAdjust="0"/>
  </p:normalViewPr>
  <p:slideViewPr>
    <p:cSldViewPr showGuides="1">
      <p:cViewPr>
        <p:scale>
          <a:sx n="90" d="100"/>
          <a:sy n="90" d="100"/>
        </p:scale>
        <p:origin x="-1954" y="77"/>
      </p:cViewPr>
      <p:guideLst>
        <p:guide orient="horz" pos="672"/>
        <p:guide orient="horz" pos="3936"/>
        <p:guide pos="217"/>
        <p:guide pos="5568"/>
        <p:guide pos="1433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-williams\AppData\Local\Microsoft\Windows\Temporary%20Internet%20Files\Content.Outlook\F0HSVOTB\FY%202017%20results%20graphs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a-williams\Desktop\Copy%20of%20FY%202017%20results%20graphs.xlsx" TargetMode="Externa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file:///C:\Users\neal-johnson\Documents\Website%20updates\FY2017%20results\FY%202017%20results%20graphs.xlsx" TargetMode="External"/><Relationship Id="rId1" Type="http://schemas.openxmlformats.org/officeDocument/2006/relationships/themeOverride" Target="../theme/themeOverrid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spPr>
            <a:ln>
              <a:solidFill>
                <a:srgbClr val="104554"/>
              </a:solidFill>
            </a:ln>
          </c:spPr>
          <c:marker>
            <c:symbol val="square"/>
            <c:size val="7"/>
            <c:spPr>
              <a:solidFill>
                <a:srgbClr val="B7A66D"/>
              </a:solidFill>
            </c:spPr>
          </c:marker>
          <c:dLbls>
            <c:dLbl>
              <c:idx val="0"/>
              <c:layout>
                <c:manualLayout>
                  <c:x val="-2.4271844660194174E-2"/>
                  <c:y val="-4.24242424242424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5889967637540468E-2"/>
                  <c:y val="3.63636363636363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3.2362459546925564E-2"/>
                  <c:y val="-4.242448103078024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1.9417475728155338E-2"/>
                  <c:y val="3.030279169649248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4.0453074433656956E-2"/>
                  <c:y val="-3.33335719398711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2.4271844660194174E-2"/>
                  <c:y val="4.24242424242424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3.0744336569579287E-2"/>
                  <c:y val="-4.24242424242424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5889967637540454E-2"/>
                  <c:y val="3.63636363636363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3.8834951456310676E-2"/>
                  <c:y val="-3.63636363636363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2.2653721682847898E-2"/>
                  <c:y val="3.93939393939393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6.6343042071197414E-2"/>
                  <c:y val="-2.121212121212121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7216828478964341E-2"/>
                  <c:y val="-3.93939393939393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4.8543689320388345E-3"/>
                  <c:y val="1.21212121212121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4.0453074433656956E-2"/>
                  <c:y val="-3.030303030303027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2.7508090614886731E-2"/>
                  <c:y val="4.24242424242424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3.0744336569579287E-2"/>
                  <c:y val="-3.93939393939393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2.7508090614886731E-2"/>
                  <c:y val="5.757551896921975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-4.0453074433656956E-2"/>
                  <c:y val="-3.939393939393939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-2.5889967637540454E-2"/>
                  <c:y val="3.3333333333333333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-3.5598705501618123E-2"/>
                  <c:y val="-4.545454545454545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2.4271844660194174E-2"/>
                  <c:y val="-3.939417800047721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1"/>
              <c:layout>
                <c:manualLayout>
                  <c:x val="-2.4271844660194174E-2"/>
                  <c:y val="3.636363636363636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2"/>
              <c:layout>
                <c:manualLayout>
                  <c:x val="-2.7508090614886731E-2"/>
                  <c:y val="-4.24242424242424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3"/>
              <c:layout>
                <c:manualLayout>
                  <c:x val="-3.0744336569579287E-2"/>
                  <c:y val="4.242424242424242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>
                <c:manualLayout>
                  <c:x val="-3.3980709935529901E-2"/>
                  <c:y val="-3.030303030303030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5"/>
              <c:layout>
                <c:manualLayout>
                  <c:x val="-3.2362459546925564E-2"/>
                  <c:y val="3.63636363636363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6"/>
              <c:layout>
                <c:manualLayout>
                  <c:x val="-1.1326860841423949E-2"/>
                  <c:y val="-3.636363636363633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</c:dLbl>
            <c:numFmt formatCode="#,##0.0" sourceLinked="0"/>
            <c:spPr>
              <a:solidFill>
                <a:schemeClr val="bg1"/>
              </a:solidFill>
            </c:spPr>
            <c:txPr>
              <a:bodyPr/>
              <a:lstStyle/>
              <a:p>
                <a:pPr>
                  <a:defRPr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114:$A$140</c:f>
              <c:numCache>
                <c:formatCode>General</c:formatCode>
                <c:ptCount val="27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  <c:pt idx="25">
                  <c:v>2017</c:v>
                </c:pt>
                <c:pt idx="26">
                  <c:v>2018</c:v>
                </c:pt>
              </c:numCache>
            </c:numRef>
          </c:cat>
          <c:val>
            <c:numRef>
              <c:f>Sheet1!$B$114:$B$140</c:f>
              <c:numCache>
                <c:formatCode>General</c:formatCode>
                <c:ptCount val="27"/>
                <c:pt idx="0">
                  <c:v>68.599999999999994</c:v>
                </c:pt>
                <c:pt idx="1">
                  <c:v>69.14</c:v>
                </c:pt>
                <c:pt idx="2">
                  <c:v>71.010000000000005</c:v>
                </c:pt>
                <c:pt idx="3">
                  <c:v>71.75</c:v>
                </c:pt>
                <c:pt idx="4">
                  <c:v>73.989999999999995</c:v>
                </c:pt>
                <c:pt idx="5">
                  <c:v>74.59</c:v>
                </c:pt>
                <c:pt idx="6">
                  <c:v>74.38</c:v>
                </c:pt>
                <c:pt idx="7">
                  <c:v>73.95</c:v>
                </c:pt>
                <c:pt idx="8">
                  <c:v>76.599999999999994</c:v>
                </c:pt>
                <c:pt idx="9">
                  <c:v>76.069999999999993</c:v>
                </c:pt>
                <c:pt idx="10">
                  <c:v>81.12</c:v>
                </c:pt>
                <c:pt idx="11">
                  <c:v>84.25</c:v>
                </c:pt>
                <c:pt idx="12">
                  <c:v>83.15</c:v>
                </c:pt>
                <c:pt idx="13">
                  <c:v>89.9</c:v>
                </c:pt>
                <c:pt idx="14">
                  <c:v>90.44</c:v>
                </c:pt>
                <c:pt idx="15">
                  <c:v>91.83</c:v>
                </c:pt>
                <c:pt idx="16">
                  <c:v>91.24</c:v>
                </c:pt>
                <c:pt idx="17">
                  <c:v>92.94</c:v>
                </c:pt>
                <c:pt idx="18">
                  <c:v>93.84</c:v>
                </c:pt>
                <c:pt idx="19">
                  <c:v>93.68</c:v>
                </c:pt>
                <c:pt idx="20">
                  <c:v>94.04</c:v>
                </c:pt>
                <c:pt idx="21">
                  <c:v>90.28</c:v>
                </c:pt>
                <c:pt idx="22">
                  <c:v>90.74</c:v>
                </c:pt>
                <c:pt idx="23">
                  <c:v>90.47</c:v>
                </c:pt>
                <c:pt idx="24">
                  <c:v>91.61</c:v>
                </c:pt>
                <c:pt idx="25">
                  <c:v>91.9</c:v>
                </c:pt>
                <c:pt idx="26">
                  <c:v>91.3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5097216"/>
        <c:axId val="75098752"/>
      </c:lineChart>
      <c:catAx>
        <c:axId val="75097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75098752"/>
        <c:crosses val="autoZero"/>
        <c:auto val="1"/>
        <c:lblAlgn val="ctr"/>
        <c:lblOffset val="100"/>
        <c:noMultiLvlLbl val="0"/>
      </c:catAx>
      <c:valAx>
        <c:axId val="75098752"/>
        <c:scaling>
          <c:orientation val="minMax"/>
          <c:max val="100"/>
          <c:min val="50"/>
        </c:scaling>
        <c:delete val="0"/>
        <c:axPos val="l"/>
        <c:majorGridlines/>
        <c:numFmt formatCode="0&quot;%&quot;" sourceLinked="0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en-US"/>
          </a:p>
        </c:txPr>
        <c:crossAx val="75097216"/>
        <c:crosses val="autoZero"/>
        <c:crossBetween val="between"/>
        <c:majorUnit val="10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9.796766637097061E-2"/>
          <c:y val="4.884145616843532E-2"/>
          <c:w val="0.88009876766173256"/>
          <c:h val="0.82815950892495505"/>
        </c:manualLayout>
      </c:layout>
      <c:lineChart>
        <c:grouping val="standard"/>
        <c:varyColors val="0"/>
        <c:ser>
          <c:idx val="0"/>
          <c:order val="0"/>
          <c:spPr>
            <a:ln>
              <a:solidFill>
                <a:srgbClr val="104554"/>
              </a:solidFill>
            </a:ln>
          </c:spPr>
          <c:marker>
            <c:symbol val="square"/>
            <c:size val="6"/>
            <c:spPr>
              <a:solidFill>
                <a:srgbClr val="B7A66D"/>
              </a:solidFill>
            </c:spPr>
          </c:marker>
          <c:dPt>
            <c:idx val="6"/>
            <c:marker>
              <c:spPr>
                <a:solidFill>
                  <a:srgbClr val="B7A66D"/>
                </a:solidFill>
                <a:ln>
                  <a:solidFill>
                    <a:srgbClr val="104554"/>
                  </a:solidFill>
                </a:ln>
              </c:spPr>
            </c:marker>
            <c:bubble3D val="0"/>
          </c:dPt>
          <c:dLbls>
            <c:dLbl>
              <c:idx val="0"/>
              <c:layout>
                <c:manualLayout>
                  <c:x val="-2.1933565967296783E-2"/>
                  <c:y val="2.611138913001375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7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>
                <c:manualLayout>
                  <c:x val="-2.5066932534053465E-2"/>
                  <c:y val="-3.655594478201924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7.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>
                <c:manualLayout>
                  <c:x val="-2.1933565967296783E-2"/>
                  <c:y val="3.394480586901787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8.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>
                <c:manualLayout>
                  <c:x val="-2.8200299100810147E-2"/>
                  <c:y val="-3.6556150383508457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9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4"/>
              <c:layout>
                <c:manualLayout>
                  <c:x val="-3.1333912389343743E-2"/>
                  <c:y val="3.394480586901787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8.4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5"/>
              <c:layout>
                <c:manualLayout>
                  <c:x val="-1.5666832833783415E-3"/>
                  <c:y val="-2.6111389130013749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99.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6"/>
              <c:layout>
                <c:manualLayout>
                  <c:x val="-6.1100648051755323E-2"/>
                  <c:y val="7.8334167390041246E-3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6.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7"/>
              <c:layout>
                <c:manualLayout>
                  <c:x val="-2.0366882683918439E-2"/>
                  <c:y val="-3.916708369502062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2.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8"/>
              <c:layout>
                <c:manualLayout>
                  <c:x val="-3.6033715517701854E-2"/>
                  <c:y val="3.655594478201924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5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9"/>
              <c:layout>
                <c:manualLayout>
                  <c:x val="-3.1333665667566832E-2"/>
                  <c:y val="-4.438936152102337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6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0"/>
              <c:layout>
                <c:manualLayout>
                  <c:x val="-3.9167082084458481E-2"/>
                  <c:y val="3.655594478201924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3.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1"/>
              <c:layout>
                <c:manualLayout>
                  <c:x val="-3.2900348950945173E-2"/>
                  <c:y val="-4.4389361521023324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49.8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2"/>
              <c:layout>
                <c:manualLayout>
                  <c:x val="-3.1333665667566831E-3"/>
                  <c:y val="1.044455565200549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4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3"/>
              <c:layout>
                <c:manualLayout>
                  <c:x val="-3.6033715517701854E-2"/>
                  <c:y val="-2.872252804301512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0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4"/>
              <c:layout>
                <c:manualLayout>
                  <c:x val="-2.3500249250675124E-2"/>
                  <c:y val="2.6111389130013745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8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5"/>
              <c:layout>
                <c:manualLayout>
                  <c:x val="-2.8200299100810147E-2"/>
                  <c:y val="-3.916708369502062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0.9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6"/>
              <c:layout>
                <c:manualLayout>
                  <c:x val="-2.6633615817431806E-2"/>
                  <c:y val="3.394460026752860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2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7"/>
              <c:layout>
                <c:manualLayout>
                  <c:x val="-2.9766982384188491E-2"/>
                  <c:y val="-3.133366695601649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1.7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8"/>
              <c:layout>
                <c:manualLayout>
                  <c:x val="-2.8200299100810147E-2"/>
                  <c:y val="3.133366695601649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57.0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9"/>
              <c:layout>
                <c:manualLayout>
                  <c:x val="-3.1333665667566832E-2"/>
                  <c:y val="-4.177822260802199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2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0"/>
              <c:layout>
                <c:manualLayout>
                  <c:x val="-2.9766982384188491E-2"/>
                  <c:y val="3.6555533579040816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1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1"/>
              <c:layout>
                <c:manualLayout>
                  <c:x val="-3.2900348950945055E-2"/>
                  <c:y val="-3.394480586901787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5.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2"/>
              <c:layout>
                <c:manualLayout>
                  <c:x val="-2.8200299100810147E-2"/>
                  <c:y val="3.3944805869017873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6.2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3"/>
              <c:layout>
                <c:manualLayout>
                  <c:x val="0"/>
                  <c:y val="1.5666833478008249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65.6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4"/>
              <c:layout>
                <c:manualLayout>
                  <c:x val="-3.6033715517701854E-2"/>
                  <c:y val="-3.6555944782019248E-2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/>
                      <a:t>72.1</a:t>
                    </a:r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5"/>
              <c:delete val="1"/>
            </c:dLbl>
            <c:spPr>
              <a:solidFill>
                <a:schemeClr val="bg1"/>
              </a:solidFill>
              <a:ln>
                <a:noFill/>
              </a:ln>
            </c:spPr>
            <c:txPr>
              <a:bodyPr/>
              <a:lstStyle/>
              <a:p>
                <a:pPr>
                  <a:defRPr sz="1000">
                    <a:latin typeface="Arial" panose="020B0604020202020204" pitchFamily="34" charset="0"/>
                    <a:cs typeface="Arial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A$86:$A$111</c:f>
              <c:numCache>
                <c:formatCode>General</c:formatCode>
                <c:ptCount val="26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</c:numCache>
            </c:numRef>
          </c:cat>
          <c:val>
            <c:numRef>
              <c:f>Sheet1!$AH$88:$AH$113</c:f>
              <c:numCache>
                <c:formatCode>0.0%</c:formatCode>
                <c:ptCount val="26"/>
                <c:pt idx="0">
                  <c:v>0.97099999999999997</c:v>
                </c:pt>
                <c:pt idx="1">
                  <c:v>0.97199999999999998</c:v>
                </c:pt>
                <c:pt idx="2">
                  <c:v>0.98199999999999998</c:v>
                </c:pt>
                <c:pt idx="3">
                  <c:v>0.99099999999999999</c:v>
                </c:pt>
                <c:pt idx="4">
                  <c:v>0.9840000000000001</c:v>
                </c:pt>
                <c:pt idx="5">
                  <c:v>0.997</c:v>
                </c:pt>
                <c:pt idx="6">
                  <c:v>0.66900000000000004</c:v>
                </c:pt>
                <c:pt idx="7">
                  <c:v>0.628</c:v>
                </c:pt>
                <c:pt idx="8">
                  <c:v>0.55100000000000005</c:v>
                </c:pt>
                <c:pt idx="9">
                  <c:v>0.56600000000000006</c:v>
                </c:pt>
                <c:pt idx="10">
                  <c:v>0.53200000000000003</c:v>
                </c:pt>
                <c:pt idx="11">
                  <c:v>0.498</c:v>
                </c:pt>
                <c:pt idx="12">
                  <c:v>0.54100000000000004</c:v>
                </c:pt>
                <c:pt idx="13">
                  <c:v>0.60599999999999998</c:v>
                </c:pt>
                <c:pt idx="14">
                  <c:v>0.58599999999999997</c:v>
                </c:pt>
                <c:pt idx="15">
                  <c:v>0.60899999999999999</c:v>
                </c:pt>
                <c:pt idx="16">
                  <c:v>0.621</c:v>
                </c:pt>
                <c:pt idx="17">
                  <c:v>0.61699999999999999</c:v>
                </c:pt>
                <c:pt idx="18">
                  <c:v>0.56999999999999995</c:v>
                </c:pt>
                <c:pt idx="19">
                  <c:v>0.626</c:v>
                </c:pt>
                <c:pt idx="20">
                  <c:v>0.61099999999999999</c:v>
                </c:pt>
                <c:pt idx="21">
                  <c:v>0.65200000000000002</c:v>
                </c:pt>
                <c:pt idx="22">
                  <c:v>0.66200000000000003</c:v>
                </c:pt>
                <c:pt idx="23">
                  <c:v>0.65599999999999992</c:v>
                </c:pt>
                <c:pt idx="24">
                  <c:v>0.72099999999999997</c:v>
                </c:pt>
                <c:pt idx="25">
                  <c:v>0.7309999999999999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75049216"/>
        <c:axId val="75063296"/>
      </c:lineChart>
      <c:catAx>
        <c:axId val="750492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2700000"/>
          <a:lstStyle/>
          <a:p>
            <a:pPr>
              <a:defRPr sz="1200" baseline="0">
                <a:latin typeface="Arial" panose="020B0604020202020204" pitchFamily="34" charset="0"/>
              </a:defRPr>
            </a:pPr>
            <a:endParaRPr lang="en-US"/>
          </a:p>
        </c:txPr>
        <c:crossAx val="75063296"/>
        <c:crosses val="autoZero"/>
        <c:auto val="1"/>
        <c:lblAlgn val="ctr"/>
        <c:lblOffset val="100"/>
        <c:noMultiLvlLbl val="0"/>
      </c:catAx>
      <c:valAx>
        <c:axId val="75063296"/>
        <c:scaling>
          <c:orientation val="minMax"/>
          <c:max val="1"/>
        </c:scaling>
        <c:delete val="0"/>
        <c:axPos val="l"/>
        <c:majorGridlines/>
        <c:numFmt formatCode="0.0%" sourceLinked="1"/>
        <c:majorTickMark val="out"/>
        <c:minorTickMark val="none"/>
        <c:tickLblPos val="nextTo"/>
        <c:txPr>
          <a:bodyPr/>
          <a:lstStyle/>
          <a:p>
            <a: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pPr>
            <a:endParaRPr lang="en-US"/>
          </a:p>
        </c:txPr>
        <c:crossAx val="75049216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0.11397804514663257"/>
          <c:y val="7.1978232018356625E-2"/>
          <c:w val="0.86575946201848664"/>
          <c:h val="0.79191083167478016"/>
        </c:manualLayout>
      </c:layout>
      <c:barChart>
        <c:barDir val="col"/>
        <c:grouping val="clustered"/>
        <c:varyColors val="0"/>
        <c:ser>
          <c:idx val="1"/>
          <c:order val="0"/>
          <c:spPr>
            <a:gradFill>
              <a:gsLst>
                <a:gs pos="0">
                  <a:srgbClr val="000066"/>
                </a:gs>
                <a:gs pos="49000">
                  <a:schemeClr val="bg2">
                    <a:lumMod val="50000"/>
                  </a:schemeClr>
                </a:gs>
                <a:gs pos="100000">
                  <a:srgbClr val="000066"/>
                </a:gs>
              </a:gsLst>
              <a:lin ang="5400000" scaled="0"/>
            </a:gradFill>
            <a:ln>
              <a:solidFill>
                <a:srgbClr val="0000CC"/>
              </a:solidFill>
            </a:ln>
          </c:spPr>
          <c:invertIfNegative val="0"/>
          <c:dLbls>
            <c:dLbl>
              <c:idx val="0"/>
              <c:layout>
                <c:manualLayout>
                  <c:x val="-5.5261344095129577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9A3-433B-ABAF-3C1F1B048F8A}"/>
                </c:ext>
              </c:extLst>
            </c:dLbl>
            <c:dLbl>
              <c:idx val="1"/>
              <c:layout>
                <c:manualLayout>
                  <c:x val="-1.8420448031709858E-3"/>
                  <c:y val="-4.0837155251609945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9A3-433B-ABAF-3C1F1B048F8A}"/>
                </c:ext>
              </c:extLst>
            </c:dLbl>
            <c:dLbl>
              <c:idx val="3"/>
              <c:layout>
                <c:manualLayout>
                  <c:x val="1.8420448031709858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9A3-433B-ABAF-3C1F1B048F8A}"/>
                </c:ext>
              </c:extLst>
            </c:dLbl>
            <c:dLbl>
              <c:idx val="4"/>
              <c:layout>
                <c:manualLayout>
                  <c:x val="5.5261344095129577E-3"/>
                  <c:y val="4.083715525160993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9A3-433B-ABAF-3C1F1B048F8A}"/>
                </c:ext>
              </c:extLst>
            </c:dLbl>
            <c:dLbl>
              <c:idx val="5"/>
              <c:layout>
                <c:manualLayout>
                  <c:x val="1.1052268819025948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9A3-433B-ABAF-3C1F1B048F8A}"/>
                </c:ext>
              </c:extLst>
            </c:dLbl>
            <c:dLbl>
              <c:idx val="8"/>
              <c:layout>
                <c:manualLayout>
                  <c:x val="-5.5261344095129577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9A3-433B-ABAF-3C1F1B048F8A}"/>
                </c:ext>
              </c:extLst>
            </c:dLbl>
            <c:dLbl>
              <c:idx val="10"/>
              <c:layout>
                <c:manualLayout>
                  <c:x val="1.8420448031709858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9A3-433B-ABAF-3C1F1B048F8A}"/>
                </c:ext>
              </c:extLst>
            </c:dLbl>
            <c:dLbl>
              <c:idx val="11"/>
              <c:layout>
                <c:manualLayout>
                  <c:x val="1.8420448031709184E-3"/>
                  <c:y val="3.976144386012863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9A3-433B-ABAF-3C1F1B048F8A}"/>
                </c:ext>
              </c:extLst>
            </c:dLbl>
            <c:dLbl>
              <c:idx val="13"/>
              <c:layout>
                <c:manualLayout>
                  <c:x val="-1.1052413861923802E-2"/>
                  <c:y val="3.976144386012863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9A3-433B-ABAF-3C1F1B048F8A}"/>
                </c:ext>
              </c:extLst>
            </c:dLbl>
            <c:dLbl>
              <c:idx val="14"/>
              <c:layout>
                <c:manualLayout>
                  <c:x val="-5.5261344095129577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9A3-433B-ABAF-3C1F1B048F8A}"/>
                </c:ext>
              </c:extLst>
            </c:dLbl>
            <c:dLbl>
              <c:idx val="15"/>
              <c:layout>
                <c:manualLayout>
                  <c:x val="-1.8420448031709858E-3"/>
                  <c:y val="-3.976144386012863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49A3-433B-ABAF-3C1F1B048F8A}"/>
                </c:ext>
              </c:extLst>
            </c:dLbl>
            <c:dLbl>
              <c:idx val="17"/>
              <c:layout>
                <c:manualLayout>
                  <c:x val="3.68408960634197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49A3-433B-ABAF-3C1F1B048F8A}"/>
                </c:ext>
              </c:extLst>
            </c:dLbl>
            <c:dLbl>
              <c:idx val="19"/>
              <c:layout>
                <c:manualLayout>
                  <c:x val="-7.3681792126839432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9A3-433B-ABAF-3C1F1B048F8A}"/>
                </c:ext>
              </c:extLst>
            </c:dLbl>
            <c:dLbl>
              <c:idx val="21"/>
              <c:layout>
                <c:manualLayout>
                  <c:x val="-3.684089606341971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49A3-433B-ABAF-3C1F1B048F8A}"/>
                </c:ext>
              </c:extLst>
            </c:dLbl>
            <c:dLbl>
              <c:idx val="22"/>
              <c:layout>
                <c:manualLayout>
                  <c:x val="1.8420448031709858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49A3-433B-ABAF-3C1F1B048F8A}"/>
                </c:ext>
              </c:extLst>
            </c:dLbl>
            <c:dLbl>
              <c:idx val="23"/>
              <c:layout>
                <c:manualLayout>
                  <c:x val="7.3681792126839432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49A3-433B-ABAF-3C1F1B048F8A}"/>
                </c:ext>
              </c:extLst>
            </c:dLbl>
            <c:dLbl>
              <c:idx val="24"/>
              <c:layout>
                <c:manualLayout>
                  <c:x val="-1.846722068328852E-3"/>
                  <c:y val="3.976144386012863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49A3-433B-ABAF-3C1F1B048F8A}"/>
                </c:ext>
              </c:extLst>
            </c:dLbl>
            <c:dLbl>
              <c:idx val="25"/>
              <c:layout>
                <c:manualLayout>
                  <c:x val="5.540166204986149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49A3-433B-ABAF-3C1F1B048F8A}"/>
                </c:ext>
              </c:extLst>
            </c:dLbl>
            <c:numFmt formatCode="#,##0.0" sourceLinked="0"/>
            <c:spPr>
              <a:solidFill>
                <a:schemeClr val="bg1"/>
              </a:solidFill>
              <a:ln>
                <a:solidFill>
                  <a:schemeClr val="tx1"/>
                </a:solidFill>
              </a:ln>
            </c:spPr>
            <c:txPr>
              <a:bodyPr/>
              <a:lstStyle/>
              <a:p>
                <a:pPr>
                  <a:defRPr sz="800">
                    <a:latin typeface="Franklin Gothic Book" panose="020B05030201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86:$A$110</c:f>
              <c:numCache>
                <c:formatCode>General</c:formatCode>
                <c:ptCount val="25"/>
                <c:pt idx="0">
                  <c:v>1992</c:v>
                </c:pt>
                <c:pt idx="1">
                  <c:v>1993</c:v>
                </c:pt>
                <c:pt idx="2">
                  <c:v>1994</c:v>
                </c:pt>
                <c:pt idx="3">
                  <c:v>1995</c:v>
                </c:pt>
                <c:pt idx="4">
                  <c:v>1996</c:v>
                </c:pt>
                <c:pt idx="5">
                  <c:v>1997</c:v>
                </c:pt>
                <c:pt idx="6">
                  <c:v>1998</c:v>
                </c:pt>
                <c:pt idx="7">
                  <c:v>1999</c:v>
                </c:pt>
                <c:pt idx="8">
                  <c:v>2000</c:v>
                </c:pt>
                <c:pt idx="9">
                  <c:v>2001</c:v>
                </c:pt>
                <c:pt idx="10">
                  <c:v>2002</c:v>
                </c:pt>
                <c:pt idx="11">
                  <c:v>2003</c:v>
                </c:pt>
                <c:pt idx="12">
                  <c:v>2004</c:v>
                </c:pt>
                <c:pt idx="13">
                  <c:v>2005</c:v>
                </c:pt>
                <c:pt idx="14">
                  <c:v>2006</c:v>
                </c:pt>
                <c:pt idx="15">
                  <c:v>2007</c:v>
                </c:pt>
                <c:pt idx="16">
                  <c:v>2008</c:v>
                </c:pt>
                <c:pt idx="17">
                  <c:v>2009</c:v>
                </c:pt>
                <c:pt idx="18">
                  <c:v>2010</c:v>
                </c:pt>
                <c:pt idx="19">
                  <c:v>2011</c:v>
                </c:pt>
                <c:pt idx="20">
                  <c:v>2012</c:v>
                </c:pt>
                <c:pt idx="21">
                  <c:v>2013</c:v>
                </c:pt>
                <c:pt idx="22">
                  <c:v>2014</c:v>
                </c:pt>
                <c:pt idx="23">
                  <c:v>2015</c:v>
                </c:pt>
                <c:pt idx="24">
                  <c:v>2016</c:v>
                </c:pt>
              </c:numCache>
            </c:numRef>
          </c:cat>
          <c:val>
            <c:numRef>
              <c:f>Sheet1!$B$86:$B$110</c:f>
              <c:numCache>
                <c:formatCode>General</c:formatCode>
                <c:ptCount val="25"/>
                <c:pt idx="0">
                  <c:v>97.1</c:v>
                </c:pt>
                <c:pt idx="1">
                  <c:v>97.2</c:v>
                </c:pt>
                <c:pt idx="2">
                  <c:v>98.2</c:v>
                </c:pt>
                <c:pt idx="3">
                  <c:v>99.1</c:v>
                </c:pt>
                <c:pt idx="4">
                  <c:v>98.4</c:v>
                </c:pt>
                <c:pt idx="5">
                  <c:v>99.7</c:v>
                </c:pt>
                <c:pt idx="6">
                  <c:v>66.900000000000006</c:v>
                </c:pt>
                <c:pt idx="7">
                  <c:v>62.8</c:v>
                </c:pt>
                <c:pt idx="8">
                  <c:v>55.1</c:v>
                </c:pt>
                <c:pt idx="9">
                  <c:v>56.6</c:v>
                </c:pt>
                <c:pt idx="10">
                  <c:v>53.2</c:v>
                </c:pt>
                <c:pt idx="11">
                  <c:v>49.8</c:v>
                </c:pt>
                <c:pt idx="12">
                  <c:v>54.1</c:v>
                </c:pt>
                <c:pt idx="13">
                  <c:v>60.6</c:v>
                </c:pt>
                <c:pt idx="14">
                  <c:v>58.6</c:v>
                </c:pt>
                <c:pt idx="15">
                  <c:v>60.9</c:v>
                </c:pt>
                <c:pt idx="16">
                  <c:v>62.1</c:v>
                </c:pt>
                <c:pt idx="17">
                  <c:v>61.7</c:v>
                </c:pt>
                <c:pt idx="18" formatCode="0.00">
                  <c:v>57</c:v>
                </c:pt>
                <c:pt idx="19">
                  <c:v>62.6</c:v>
                </c:pt>
                <c:pt idx="20">
                  <c:v>61.1</c:v>
                </c:pt>
                <c:pt idx="21">
                  <c:v>65.2</c:v>
                </c:pt>
                <c:pt idx="22">
                  <c:v>66.2</c:v>
                </c:pt>
                <c:pt idx="23">
                  <c:v>65.599999999999994</c:v>
                </c:pt>
                <c:pt idx="24">
                  <c:v>72.099999999999994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12-49A3-433B-ABAF-3C1F1B048F8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77696384"/>
        <c:axId val="77714560"/>
      </c:barChart>
      <c:catAx>
        <c:axId val="776963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2400000"/>
          <a:lstStyle/>
          <a:p>
            <a:pPr>
              <a:defRPr/>
            </a:pPr>
            <a:endParaRPr lang="en-US"/>
          </a:p>
        </c:txPr>
        <c:crossAx val="77714560"/>
        <c:crosses val="autoZero"/>
        <c:auto val="1"/>
        <c:lblAlgn val="ctr"/>
        <c:lblOffset val="100"/>
        <c:tickLblSkip val="1"/>
        <c:noMultiLvlLbl val="0"/>
      </c:catAx>
      <c:valAx>
        <c:axId val="77714560"/>
        <c:scaling>
          <c:orientation val="minMax"/>
          <c:max val="100"/>
          <c:min val="25"/>
        </c:scaling>
        <c:delete val="0"/>
        <c:axPos val="l"/>
        <c:majorGridlines/>
        <c:title>
          <c:tx>
            <c:rich>
              <a:bodyPr rot="-5400000" vert="horz"/>
              <a:lstStyle/>
              <a:p>
                <a:pPr>
                  <a:defRPr sz="1300">
                    <a:latin typeface="Franklin Gothic Book" panose="020B0503020102020204" pitchFamily="34" charset="0"/>
                  </a:defRPr>
                </a:pPr>
                <a:r>
                  <a:rPr lang="en-US" sz="1300">
                    <a:latin typeface="Franklin Gothic Book" panose="020B0503020102020204" pitchFamily="34" charset="0"/>
                  </a:rPr>
                  <a:t>%</a:t>
                </a:r>
                <a:r>
                  <a:rPr lang="en-US" sz="1300" baseline="0">
                    <a:latin typeface="Franklin Gothic Book" panose="020B0503020102020204" pitchFamily="34" charset="0"/>
                  </a:rPr>
                  <a:t> Helmet Use</a:t>
                </a:r>
                <a:endParaRPr lang="en-US" sz="1300">
                  <a:latin typeface="Franklin Gothic Book" panose="020B0503020102020204" pitchFamily="34" charset="0"/>
                </a:endParaRPr>
              </a:p>
            </c:rich>
          </c:tx>
          <c:layout/>
          <c:overlay val="0"/>
        </c:title>
        <c:numFmt formatCode="0&quot;%&quot;" sourceLinked="0"/>
        <c:majorTickMark val="out"/>
        <c:minorTickMark val="none"/>
        <c:tickLblPos val="nextTo"/>
        <c:crossAx val="77696384"/>
        <c:crosses val="autoZero"/>
        <c:crossBetween val="between"/>
        <c:majorUnit val="15"/>
      </c:valAx>
    </c:plotArea>
    <c:plotVisOnly val="1"/>
    <c:dispBlanksAs val="gap"/>
    <c:showDLblsOverMax val="0"/>
  </c:chart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/>
          <a:lstStyle>
            <a:lvl1pPr algn="r">
              <a:defRPr sz="1200"/>
            </a:lvl1pPr>
          </a:lstStyle>
          <a:p>
            <a:fld id="{7A790463-911A-4750-AD2E-671879DD54F4}" type="datetimeFigureOut">
              <a:rPr lang="en-US" smtClean="0"/>
              <a:pPr/>
              <a:t>12/16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7016" tIns="48508" rIns="97016" bIns="48508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1"/>
            <a:ext cx="5852160" cy="4320540"/>
          </a:xfrm>
          <a:prstGeom prst="rect">
            <a:avLst/>
          </a:prstGeom>
        </p:spPr>
        <p:txBody>
          <a:bodyPr vert="horz" lIns="97016" tIns="48508" rIns="97016" bIns="48508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5"/>
            <a:ext cx="3169920" cy="480060"/>
          </a:xfrm>
          <a:prstGeom prst="rect">
            <a:avLst/>
          </a:prstGeom>
        </p:spPr>
        <p:txBody>
          <a:bodyPr vert="horz" lIns="97016" tIns="48508" rIns="97016" bIns="48508" rtlCol="0" anchor="b"/>
          <a:lstStyle>
            <a:lvl1pPr algn="r">
              <a:defRPr sz="1200"/>
            </a:lvl1pPr>
          </a:lstStyle>
          <a:p>
            <a:fld id="{09541898-D043-4569-A9A6-59B778BECE00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8243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57300" y="719138"/>
            <a:ext cx="4800600" cy="36004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541898-D043-4569-A9A6-59B778BECE00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361629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8.xml"/><Relationship Id="rId7" Type="http://schemas.openxmlformats.org/officeDocument/2006/relationships/image" Target="../media/image3.png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1.xml"/><Relationship Id="rId7" Type="http://schemas.openxmlformats.org/officeDocument/2006/relationships/image" Target="../media/image3.png"/><Relationship Id="rId2" Type="http://schemas.openxmlformats.org/officeDocument/2006/relationships/tags" Target="../tags/tag10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340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1" y="3657600"/>
            <a:ext cx="3862391" cy="1409700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1" y="5286375"/>
            <a:ext cx="3862391" cy="581026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9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cxnSp>
        <p:nvCxnSpPr>
          <p:cNvPr id="9" name="Straight Connector 8"/>
          <p:cNvCxnSpPr/>
          <p:nvPr userDrawn="1"/>
        </p:nvCxnSpPr>
        <p:spPr>
          <a:xfrm>
            <a:off x="457200" y="5181600"/>
            <a:ext cx="38862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692" name="think-cell Slide" r:id="rId6" imgW="0" imgH="0" progId="">
                  <p:embed/>
                </p:oleObj>
              </mc:Choice>
              <mc:Fallback>
                <p:oleObj name="think-cell Slide" r:id="rId6" imgW="0" imgH="0" progId="">
                  <p:embed/>
                  <p:pic>
                    <p:nvPicPr>
                      <p:cNvPr id="0" name="Rectangle 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TitleFooterBlueandWhite.png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993739"/>
            <a:ext cx="9144000" cy="8642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70104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  <p:custDataLst>
              <p:tags r:id="rId3"/>
            </p:custDataLst>
          </p:nvPr>
        </p:nvSpPr>
        <p:spPr>
          <a:xfrm>
            <a:off x="481011" y="3862388"/>
            <a:ext cx="5100433" cy="1057275"/>
          </a:xfrm>
          <a:noFill/>
        </p:spPr>
        <p:txBody>
          <a:bodyPr wrap="square" lIns="0" tIns="0" rIns="0" bIns="0" rtlCol="0" anchor="b" anchorCtr="0">
            <a:noAutofit/>
          </a:bodyPr>
          <a:lstStyle>
            <a:lvl1pPr>
              <a:lnSpc>
                <a:spcPct val="90000"/>
              </a:lnSpc>
              <a:defRPr kumimoji="0" lang="en-US" sz="4000" b="0" i="0" u="none" strike="noStrike" kern="1200" cap="all" spc="0" normalizeH="0" baseline="0" noProof="0" dirty="0" smtClean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 smtClean="0"/>
              <a:t>Presentation title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481011" y="5045871"/>
            <a:ext cx="5133855" cy="592931"/>
          </a:xfr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>
              <a:buNone/>
              <a:defRPr kumimoji="0" lang="en-US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>
                    <a:lumMod val="75000"/>
                    <a:lumOff val="25000"/>
                  </a:schemeClr>
                </a:solidFill>
                <a:effectLst/>
                <a:uLnTx/>
                <a:uFillTx/>
                <a:latin typeface="Franklin Gothic Medium" panose="020B0603020102020204" pitchFamily="34" charset="0"/>
                <a:ea typeface="+mn-ea"/>
                <a:cs typeface="Arial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 smtClean="0"/>
              <a:t>Subtitle</a:t>
            </a:r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457200" y="4948238"/>
            <a:ext cx="48006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1pPr>
            <a:lvl2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2pPr>
            <a:lvl3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3pPr>
            <a:lvl4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4pPr>
            <a:lvl5pPr>
              <a:spcBef>
                <a:spcPts val="0"/>
              </a:spcBef>
              <a:spcAft>
                <a:spcPts val="1200"/>
              </a:spcAft>
              <a:defRPr sz="2000">
                <a:latin typeface="Franklin Gothic Book" pitchFamily="34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2" y="6578602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effectLst/>
                <a:latin typeface="Franklin Gothic Demi" pitchFamily="34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2" y="6578602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64602" y="6578602"/>
            <a:ext cx="211057" cy="18750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Footer.png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292906"/>
            <a:ext cx="9144000" cy="565094"/>
          </a:xfrm>
          <a:prstGeom prst="rect">
            <a:avLst/>
          </a:prstGeom>
        </p:spPr>
      </p:pic>
      <p:pic>
        <p:nvPicPr>
          <p:cNvPr id="4" name="Picture 3" descr="Header.png"/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31576"/>
          </a:xfrm>
          <a:prstGeom prst="rect">
            <a:avLst/>
          </a:prstGeom>
        </p:spPr>
      </p:pic>
      <p:graphicFrame>
        <p:nvGraphicFramePr>
          <p:cNvPr id="10" name="Object 9" hidden="1"/>
          <p:cNvGraphicFramePr>
            <a:graphicFrameLocks/>
          </p:cNvGraphicFramePr>
          <p:nvPr>
            <p:custDataLst>
              <p:tags r:id="rId8"/>
            </p:custDataLst>
          </p:nvPr>
        </p:nvGraphicFramePr>
        <p:xfrm>
          <a:off x="2" y="1"/>
          <a:ext cx="15875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65" name="think-cell Slide" r:id="rId15" imgW="0" imgH="0" progId="">
                  <p:embed/>
                </p:oleObj>
              </mc:Choice>
              <mc:Fallback>
                <p:oleObj name="think-cell Slide" r:id="rId15" imgW="0" imgH="0" progId="">
                  <p:embed/>
                  <p:pic>
                    <p:nvPicPr>
                      <p:cNvPr id="0" name="Rectangle 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" y="1"/>
                        <a:ext cx="158751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>
            <p:custDataLst>
              <p:tags r:id="rId9"/>
            </p:custDataLst>
          </p:nvPr>
        </p:nvSpPr>
        <p:spPr>
          <a:xfrm>
            <a:off x="8886827" y="6579399"/>
            <a:ext cx="257175" cy="190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200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10"/>
            </p:custDataLst>
          </p:nvPr>
        </p:nvSpPr>
        <p:spPr bwMode="gray">
          <a:xfrm>
            <a:off x="304802" y="76202"/>
            <a:ext cx="8353425" cy="461665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11"/>
            </p:custDataLst>
          </p:nvPr>
        </p:nvSpPr>
        <p:spPr>
          <a:xfrm>
            <a:off x="333376" y="1066800"/>
            <a:ext cx="8477251" cy="51816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12"/>
            </p:custDataLst>
          </p:nvPr>
        </p:nvSpPr>
        <p:spPr>
          <a:xfrm>
            <a:off x="8870952" y="6582397"/>
            <a:ext cx="211057" cy="187507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</a:lstStyle>
          <a:p>
            <a:pPr lvl="1">
              <a:spcBef>
                <a:spcPts val="900"/>
              </a:spcBef>
            </a:pPr>
            <a:fld id="{126B356D-DBE9-445A-9C43-3D3F41468F04}" type="slidenum">
              <a:rPr lang="en-US" smtClean="0"/>
              <a:pPr lvl="1">
                <a:spcBef>
                  <a:spcPts val="900"/>
                </a:spcBef>
              </a:pPr>
              <a:t>‹#›</a:t>
            </a:fld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304800" y="6519448"/>
            <a:ext cx="42672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smtClean="0">
                <a:solidFill>
                  <a:schemeClr val="bg1"/>
                </a:solidFill>
                <a:latin typeface="Franklin Gothic Book" pitchFamily="34" charset="0"/>
              </a:rPr>
              <a:t>Footer Text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4" r:id="rId4"/>
    <p:sldLayoutId id="2147483655" r:id="rId5"/>
  </p:sldLayoutIdLst>
  <p:timing>
    <p:tnLst>
      <p:par>
        <p:cTn id="1" dur="indefinite" restart="never" nodeType="tmRoot"/>
      </p:par>
    </p:tnLst>
  </p:timing>
  <p:hf hdr="0" dt="0"/>
  <p:txStyles>
    <p:titleStyle>
      <a:lvl1pPr marL="0" algn="l" defTabSz="914400" rtl="0" eaLnBrk="1" latinLnBrk="0" hangingPunct="1">
        <a:lnSpc>
          <a:spcPct val="100000"/>
        </a:lnSpc>
        <a:spcBef>
          <a:spcPct val="0"/>
        </a:spcBef>
        <a:buNone/>
        <a:defRPr lang="en-US" sz="2400" b="0" kern="1200" dirty="0" smtClean="0">
          <a:solidFill>
            <a:schemeClr val="bg1"/>
          </a:solidFill>
          <a:effectLst/>
          <a:latin typeface="Franklin Gothic Demi" pitchFamily="34" charset="0"/>
          <a:ea typeface="+mn-ea"/>
          <a:cs typeface="Arial" pitchFamily="34" charset="0"/>
        </a:defRPr>
      </a:lvl1pPr>
    </p:titleStyle>
    <p:bodyStyle>
      <a:lvl1pPr marL="230188" indent="-230188" algn="l" defTabSz="914400" rtl="0" eaLnBrk="1" latinLnBrk="0" hangingPunct="1">
        <a:spcBef>
          <a:spcPct val="20000"/>
        </a:spcBef>
        <a:buClr>
          <a:schemeClr val="accent1"/>
        </a:buClr>
        <a:buFont typeface="Wingdings" pitchFamily="2" charset="2"/>
        <a:buChar char="§"/>
        <a:defRPr sz="24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1pPr>
      <a:lvl2pPr marL="514350" indent="-230188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20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2pPr>
      <a:lvl3pPr marL="74295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3pPr>
      <a:lvl4pPr marL="971550" indent="-22860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–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4pPr>
      <a:lvl5pPr marL="1143000" indent="-171450" algn="l" defTabSz="91440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»"/>
        <a:defRPr sz="1800" kern="1200">
          <a:solidFill>
            <a:schemeClr val="tx1"/>
          </a:solidFill>
          <a:latin typeface="Franklin Gothic Book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5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3.xml"/><Relationship Id="rId4" Type="http://schemas.openxmlformats.org/officeDocument/2006/relationships/image" Target="../media/image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830997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Statewide </a:t>
            </a:r>
            <a:r>
              <a:rPr lang="en-US" dirty="0" smtClean="0">
                <a:solidFill>
                  <a:srgbClr val="104554"/>
                </a:solidFill>
              </a:rPr>
              <a:t>2018 Safety</a:t>
            </a:r>
            <a:br>
              <a:rPr lang="en-US" dirty="0" smtClean="0">
                <a:solidFill>
                  <a:srgbClr val="104554"/>
                </a:solidFill>
              </a:rPr>
            </a:br>
            <a:r>
              <a:rPr lang="en-US" dirty="0" smtClean="0">
                <a:solidFill>
                  <a:srgbClr val="104554"/>
                </a:solidFill>
              </a:rPr>
              <a:t>Belt Use </a:t>
            </a:r>
            <a:r>
              <a:rPr lang="en-US" dirty="0" smtClean="0">
                <a:solidFill>
                  <a:srgbClr val="104554"/>
                </a:solidFill>
              </a:rPr>
              <a:t>Rates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1</a:t>
            </a:fld>
            <a:endParaRPr lang="en-US" dirty="0"/>
          </a:p>
        </p:txBody>
      </p:sp>
      <p:grpSp>
        <p:nvGrpSpPr>
          <p:cNvPr id="43" name="Group 42"/>
          <p:cNvGrpSpPr/>
          <p:nvPr/>
        </p:nvGrpSpPr>
        <p:grpSpPr>
          <a:xfrm>
            <a:off x="1" y="6400800"/>
            <a:ext cx="9144001" cy="320040"/>
            <a:chOff x="-1" y="8915400"/>
            <a:chExt cx="6858001" cy="45720"/>
          </a:xfrm>
        </p:grpSpPr>
        <p:sp>
          <p:nvSpPr>
            <p:cNvPr id="44" name="Rectangle 43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5" name="Rectangle 44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6" name="Rectangle 45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8" name="Rectangle 47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9" name="Rectangle 48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6590829" y="4510223"/>
            <a:ext cx="296410" cy="3665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en-US" sz="1200" dirty="0" err="1" smtClean="0">
              <a:latin typeface="Arial" pitchFamily="34" charset="0"/>
              <a:cs typeface="Arial" pitchFamily="34" charset="0"/>
            </a:endParaRPr>
          </a:p>
        </p:txBody>
      </p:sp>
      <p:grpSp>
        <p:nvGrpSpPr>
          <p:cNvPr id="5" name="Group 4"/>
          <p:cNvGrpSpPr/>
          <p:nvPr/>
        </p:nvGrpSpPr>
        <p:grpSpPr>
          <a:xfrm>
            <a:off x="3527416" y="396232"/>
            <a:ext cx="5616585" cy="60967"/>
            <a:chOff x="3352800" y="396232"/>
            <a:chExt cx="5791202" cy="60967"/>
          </a:xfrm>
        </p:grpSpPr>
        <p:sp>
          <p:nvSpPr>
            <p:cNvPr id="51" name="Rectangle 5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2" name="Rectangle 51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Rectangle 58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0" name="Rectangle 19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1" name="Rectangle 20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aphicFrame>
        <p:nvGraphicFramePr>
          <p:cNvPr id="22" name="Chart 2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09425129"/>
              </p:ext>
            </p:extLst>
          </p:nvPr>
        </p:nvGraphicFramePr>
        <p:xfrm>
          <a:off x="734200" y="1447800"/>
          <a:ext cx="7848600" cy="4191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" name="TextBox 2"/>
          <p:cNvSpPr txBox="1"/>
          <p:nvPr/>
        </p:nvSpPr>
        <p:spPr>
          <a:xfrm rot="16200000">
            <a:off x="-444279" y="2985700"/>
            <a:ext cx="207995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>
                <a:latin typeface="Arial" panose="020B0604020202020204" pitchFamily="34" charset="0"/>
                <a:cs typeface="Arial" panose="020B0604020202020204" pitchFamily="34" charset="0"/>
              </a:rPr>
              <a:t>% Safety Belt </a:t>
            </a:r>
            <a:r>
              <a:rPr lang="en-US" sz="1200" b="1" dirty="0" smtClean="0">
                <a:latin typeface="Arial" panose="020B0604020202020204" pitchFamily="34" charset="0"/>
                <a:cs typeface="Arial" panose="020B0604020202020204" pitchFamily="34" charset="0"/>
              </a:rPr>
              <a:t>Use</a:t>
            </a:r>
            <a:endParaRPr lang="en-US" sz="1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546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75758" y="3124200"/>
            <a:ext cx="1730042" cy="1730042"/>
          </a:xfrm>
          <a:prstGeom prst="rect">
            <a:avLst/>
          </a:prstGeom>
          <a:noFill/>
          <a:ln w="9525">
            <a:solidFill>
              <a:srgbClr val="104554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728970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3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256401"/>
            <a:ext cx="6296799" cy="629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461665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Texas 2018 Safety Belt Use by City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2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95654" y="1143000"/>
            <a:ext cx="37338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Use is for driver and front seat outboard passenger.  Total sample size =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26,232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occupants in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21,600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vehicles (1,200 per city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). Average estimate across cities of total restraint use is 89.7%. Drivers were seat belted at a rate of 90.0% and passengers at a rate of 88.1%.</a:t>
            </a:r>
            <a:endParaRPr lang="en-US" sz="1400" dirty="0">
              <a:solidFill>
                <a:srgbClr val="5F574F"/>
              </a:solidFill>
              <a:latin typeface="Franklin Gothic Book" pitchFamily="34" charset="0"/>
            </a:endParaRPr>
          </a:p>
        </p:txBody>
      </p: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5181599" y="271136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7.0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100783" y="2549436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6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4953000" y="12470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1.2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094879" y="403050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200" b="1" dirty="0" smtClean="0"/>
              <a:t>93.9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609141" y="389200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5.2%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237752" y="561118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9.7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6595975" y="3625875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89.6%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144745" y="5064978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0.2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100782" y="4296529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8.2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3020545" y="3165976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3.2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6262126" y="2572861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1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943599" y="5361027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8.9%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4829175" y="3165976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0.8%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5001745" y="2161401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9.0%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5791200" y="4481852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0.8%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7770793" y="2784974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1.8%</a:t>
            </a:r>
          </a:p>
        </p:txBody>
      </p:sp>
      <p:sp>
        <p:nvSpPr>
          <p:cNvPr id="39" name="TextBox 38"/>
          <p:cNvSpPr txBox="1"/>
          <p:nvPr/>
        </p:nvSpPr>
        <p:spPr>
          <a:xfrm>
            <a:off x="6248400" y="22098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2.2%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6938875" y="3176952"/>
            <a:ext cx="6370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9.5%</a:t>
            </a:r>
          </a:p>
        </p:txBody>
      </p:sp>
      <p:grpSp>
        <p:nvGrpSpPr>
          <p:cNvPr id="60" name="Group 59"/>
          <p:cNvGrpSpPr/>
          <p:nvPr/>
        </p:nvGrpSpPr>
        <p:grpSpPr>
          <a:xfrm>
            <a:off x="5105400" y="396233"/>
            <a:ext cx="4038602" cy="60966"/>
            <a:chOff x="3352800" y="396232"/>
            <a:chExt cx="5791202" cy="60967"/>
          </a:xfrm>
        </p:grpSpPr>
        <p:sp>
          <p:nvSpPr>
            <p:cNvPr id="61" name="Rectangle 6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5" name="Rectangle 64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Rectangle 65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67" name="Group 66"/>
          <p:cNvGrpSpPr/>
          <p:nvPr/>
        </p:nvGrpSpPr>
        <p:grpSpPr>
          <a:xfrm>
            <a:off x="1" y="6400800"/>
            <a:ext cx="9144001" cy="320040"/>
            <a:chOff x="-1" y="8915400"/>
            <a:chExt cx="6858001" cy="45720"/>
          </a:xfrm>
        </p:grpSpPr>
        <p:sp>
          <p:nvSpPr>
            <p:cNvPr id="68" name="Rectangle 67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9" name="Rectangle 68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Rectangle 69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Rectangle 70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71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1102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6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42401" y="256401"/>
            <a:ext cx="6296799" cy="629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830997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Texas 2018 Nighttime</a:t>
            </a:r>
            <a:br>
              <a:rPr lang="en-US" dirty="0" smtClean="0">
                <a:solidFill>
                  <a:srgbClr val="104554"/>
                </a:solidFill>
              </a:rPr>
            </a:br>
            <a:r>
              <a:rPr lang="en-US" dirty="0" smtClean="0">
                <a:solidFill>
                  <a:srgbClr val="104554"/>
                </a:solidFill>
              </a:rPr>
              <a:t>Safety Belt Use by City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3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88620" y="1174629"/>
            <a:ext cx="349758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Use is for driver and front seat outboard passenger combined. Total sample size = 23,192 occupants. Average estimate across cities of total nighttime restraint use is 85.8%. Drivers were seat belted at a rate of 85.4% and passengers at a rate of 87.1%.</a:t>
            </a:r>
          </a:p>
        </p:txBody>
      </p: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81599" y="2694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3.8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096000" y="40209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0.6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4953000" y="12954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2.4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7619999" y="389615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9.0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248400" y="5627727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7.2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705599" y="363496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2.6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134099" y="505854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2.7%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7117279" y="2536466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0.8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3022591" y="3168878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8.9%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7162799" y="4267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4.4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266794" y="25870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4.0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959705" y="5361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4.7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5791199" y="448334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9.5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7794402" y="278602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7.5%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6991348" y="31827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3%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6248399" y="22098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4.2%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4979419" y="219217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5.5%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4800600" y="32004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7.7%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3352800" y="396232"/>
            <a:ext cx="5791202" cy="60967"/>
            <a:chOff x="3352800" y="396232"/>
            <a:chExt cx="5791202" cy="60967"/>
          </a:xfrm>
        </p:grpSpPr>
        <p:sp>
          <p:nvSpPr>
            <p:cNvPr id="41" name="Rectangle 4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1" y="6400800"/>
            <a:ext cx="9144001" cy="320040"/>
            <a:chOff x="-1" y="8915400"/>
            <a:chExt cx="6858001" cy="45720"/>
          </a:xfrm>
        </p:grpSpPr>
        <p:sp>
          <p:nvSpPr>
            <p:cNvPr id="57" name="Rectangle 56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2666095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2579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38400" y="304800"/>
            <a:ext cx="6158542" cy="6158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04801" y="171450"/>
            <a:ext cx="8353425" cy="461665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2018 Child </a:t>
            </a:r>
            <a:r>
              <a:rPr lang="en-US" dirty="0">
                <a:solidFill>
                  <a:srgbClr val="104554"/>
                </a:solidFill>
              </a:rPr>
              <a:t>Restraint Use </a:t>
            </a:r>
            <a:r>
              <a:rPr lang="en-US" dirty="0" smtClean="0">
                <a:solidFill>
                  <a:srgbClr val="104554"/>
                </a:solidFill>
              </a:rPr>
              <a:t>in 14 </a:t>
            </a:r>
            <a:r>
              <a:rPr lang="en-US" dirty="0">
                <a:solidFill>
                  <a:srgbClr val="104554"/>
                </a:solidFill>
              </a:rPr>
              <a:t>Texas Cities</a:t>
            </a: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4</a:t>
            </a:fld>
            <a:endParaRPr lang="en-US" dirty="0"/>
          </a:p>
        </p:txBody>
      </p:sp>
      <p:sp>
        <p:nvSpPr>
          <p:cNvPr id="38" name="Rectangle 37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533400" y="1054078"/>
            <a:ext cx="358140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urveys conducted at child care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centers</a:t>
            </a:r>
            <a:b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</a:b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and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hopping center entry points.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Children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estimated as 4 years old and younger included in the sample.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Total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ample size =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13,973. Average estimate across cities of total restraint use is 88.4%.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4800599" y="1309563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87.1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467600" y="389605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2.6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096775" y="3993825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93.9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095999" y="5562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6.5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496028" y="3629977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1.9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6096776" y="505443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3.7%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6924673" y="256204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89.8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2971799" y="31520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2.4%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6115050" y="2562046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8.0%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4831870" y="218112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2.7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6939474" y="425397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86.8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5638800" y="4432424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0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7583260" y="2743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95.3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6781799" y="31520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86.8%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6175214" y="396232"/>
            <a:ext cx="2968787" cy="60967"/>
            <a:chOff x="3352800" y="396232"/>
            <a:chExt cx="5791202" cy="60967"/>
          </a:xfrm>
        </p:grpSpPr>
        <p:sp>
          <p:nvSpPr>
            <p:cNvPr id="36" name="Rectangle 35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7" name="Rectangle 36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9" name="Rectangle 38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0" name="Rectangle 39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1" name="Rectangle 40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42" name="Group 41"/>
          <p:cNvGrpSpPr/>
          <p:nvPr/>
        </p:nvGrpSpPr>
        <p:grpSpPr>
          <a:xfrm>
            <a:off x="-1" y="6408423"/>
            <a:ext cx="9144001" cy="320040"/>
            <a:chOff x="-1" y="8915400"/>
            <a:chExt cx="6858001" cy="45720"/>
          </a:xfrm>
        </p:grpSpPr>
        <p:sp>
          <p:nvSpPr>
            <p:cNvPr id="47" name="Rectangle 46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" name="Rectangle 55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Rectangle 56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5650" name="Picture 2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180201"/>
            <a:ext cx="6296799" cy="62967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6593" y="171450"/>
            <a:ext cx="8353425" cy="830997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2018 School-Age Child Restraint Use</a:t>
            </a:r>
            <a:br>
              <a:rPr lang="en-US" dirty="0" smtClean="0">
                <a:solidFill>
                  <a:srgbClr val="104554"/>
                </a:solidFill>
              </a:rPr>
            </a:br>
            <a:r>
              <a:rPr lang="en-US" dirty="0" smtClean="0">
                <a:solidFill>
                  <a:srgbClr val="104554"/>
                </a:solidFill>
              </a:rPr>
              <a:t>in 18 Texas Cities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5</a:t>
            </a:fld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381000" y="1260940"/>
            <a:ext cx="3624911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urveys conducted in or near school zones in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four quadrants in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each city, with a quota sample of a minimum of 500 vehicles/city.  Total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2018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sample size =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11,844. Children </a:t>
            </a:r>
            <a:r>
              <a:rPr lang="en-US" sz="1400" dirty="0">
                <a:solidFill>
                  <a:srgbClr val="5F574F"/>
                </a:solidFill>
                <a:latin typeface="Franklin Gothic Book" pitchFamily="34" charset="0"/>
              </a:rPr>
              <a:t>estimated as 5-16 years old included in the sample. </a:t>
            </a:r>
            <a:r>
              <a:rPr lang="en-US" sz="1400" dirty="0" smtClean="0">
                <a:solidFill>
                  <a:srgbClr val="5F574F"/>
                </a:solidFill>
                <a:latin typeface="Franklin Gothic Book" pitchFamily="34" charset="0"/>
              </a:rPr>
              <a:t>Average percent use across all cities = 58.9%.</a:t>
            </a:r>
          </a:p>
        </p:txBody>
      </p:sp>
      <p:sp>
        <p:nvSpPr>
          <p:cNvPr id="29" name="Rectangle 28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.</a:t>
            </a:r>
            <a:endParaRPr lang="en-US" sz="1200" dirty="0">
              <a:solidFill>
                <a:srgbClr val="104554"/>
              </a:solidFill>
              <a:latin typeface="Franklin Gothic Book" pitchFamily="34" charset="0"/>
              <a:cs typeface="Arial" pitchFamily="34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5181600" y="26186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65.2%</a:t>
            </a:r>
          </a:p>
        </p:txBody>
      </p:sp>
      <p:sp>
        <p:nvSpPr>
          <p:cNvPr id="21" name="TextBox 20"/>
          <p:cNvSpPr txBox="1"/>
          <p:nvPr/>
        </p:nvSpPr>
        <p:spPr>
          <a:xfrm>
            <a:off x="6172199" y="39624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3.9%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524730" y="38100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 dirty="0" smtClean="0"/>
              <a:t>47.4%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6265447" y="5562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5.8%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634994" y="3581398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67.5%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6115000" y="4980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8.8%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124698" y="24662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62.0%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3047999" y="3075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3.0%</a:t>
            </a:r>
          </a:p>
        </p:txBody>
      </p:sp>
      <p:sp>
        <p:nvSpPr>
          <p:cNvPr id="28" name="TextBox 27"/>
          <p:cNvSpPr txBox="1"/>
          <p:nvPr/>
        </p:nvSpPr>
        <p:spPr>
          <a:xfrm>
            <a:off x="7158869" y="4219575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8.8%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6248399" y="24662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8.8%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5922547" y="52856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8.9%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4952999" y="2071458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58.3%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4800600" y="3075801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68.1%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791199" y="4419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8.3%</a:t>
            </a:r>
          </a:p>
        </p:txBody>
      </p:sp>
      <p:sp>
        <p:nvSpPr>
          <p:cNvPr id="35" name="TextBox 34"/>
          <p:cNvSpPr txBox="1"/>
          <p:nvPr/>
        </p:nvSpPr>
        <p:spPr>
          <a:xfrm>
            <a:off x="7757637" y="2694799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3.8%</a:t>
            </a:r>
          </a:p>
        </p:txBody>
      </p:sp>
      <p:sp>
        <p:nvSpPr>
          <p:cNvPr id="36" name="TextBox 35"/>
          <p:cNvSpPr txBox="1"/>
          <p:nvPr/>
        </p:nvSpPr>
        <p:spPr>
          <a:xfrm>
            <a:off x="4952999" y="1219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62.4%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6934199" y="31242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44.4%</a:t>
            </a:r>
          </a:p>
        </p:txBody>
      </p:sp>
      <p:sp>
        <p:nvSpPr>
          <p:cNvPr id="38" name="TextBox 37"/>
          <p:cNvSpPr txBox="1"/>
          <p:nvPr/>
        </p:nvSpPr>
        <p:spPr>
          <a:xfrm>
            <a:off x="6248399" y="2133600"/>
            <a:ext cx="68580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/>
              <a:t>78.3%</a:t>
            </a:r>
          </a:p>
        </p:txBody>
      </p:sp>
      <p:grpSp>
        <p:nvGrpSpPr>
          <p:cNvPr id="40" name="Group 39"/>
          <p:cNvGrpSpPr/>
          <p:nvPr/>
        </p:nvGrpSpPr>
        <p:grpSpPr>
          <a:xfrm>
            <a:off x="5410200" y="396233"/>
            <a:ext cx="3733802" cy="60966"/>
            <a:chOff x="3352800" y="396232"/>
            <a:chExt cx="5791202" cy="60967"/>
          </a:xfrm>
        </p:grpSpPr>
        <p:sp>
          <p:nvSpPr>
            <p:cNvPr id="41" name="Rectangle 40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2" name="Rectangle 41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47" name="Rectangle 46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3" name="Rectangle 52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5" name="Rectangle 54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56" name="Group 55"/>
          <p:cNvGrpSpPr/>
          <p:nvPr/>
        </p:nvGrpSpPr>
        <p:grpSpPr>
          <a:xfrm>
            <a:off x="-1" y="6400807"/>
            <a:ext cx="9144001" cy="320040"/>
            <a:chOff x="-1" y="8915400"/>
            <a:chExt cx="6858001" cy="45720"/>
          </a:xfrm>
        </p:grpSpPr>
        <p:sp>
          <p:nvSpPr>
            <p:cNvPr id="57" name="Rectangle 56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Rectangle 60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62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3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911020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Chart 2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4951589"/>
              </p:ext>
            </p:extLst>
          </p:nvPr>
        </p:nvGraphicFramePr>
        <p:xfrm>
          <a:off x="518851" y="1143000"/>
          <a:ext cx="8106297" cy="486377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pic>
        <p:nvPicPr>
          <p:cNvPr id="15360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66805" y="3657600"/>
            <a:ext cx="1601651" cy="16016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1" name="Group 30"/>
          <p:cNvGrpSpPr/>
          <p:nvPr/>
        </p:nvGrpSpPr>
        <p:grpSpPr>
          <a:xfrm>
            <a:off x="-1" y="6400800"/>
            <a:ext cx="9144001" cy="320040"/>
            <a:chOff x="-1" y="8915400"/>
            <a:chExt cx="6858001" cy="45720"/>
          </a:xfrm>
        </p:grpSpPr>
        <p:sp>
          <p:nvSpPr>
            <p:cNvPr id="32" name="Rectangle 31"/>
            <p:cNvSpPr/>
            <p:nvPr/>
          </p:nvSpPr>
          <p:spPr>
            <a:xfrm>
              <a:off x="-1" y="8915401"/>
              <a:ext cx="1017981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3" name="Rectangle 32"/>
            <p:cNvSpPr/>
            <p:nvPr/>
          </p:nvSpPr>
          <p:spPr>
            <a:xfrm>
              <a:off x="1017980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4" name="Rectangle 33"/>
            <p:cNvSpPr/>
            <p:nvPr/>
          </p:nvSpPr>
          <p:spPr>
            <a:xfrm>
              <a:off x="5900724" y="8915401"/>
              <a:ext cx="957276" cy="45719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5" name="Rectangle 34"/>
            <p:cNvSpPr/>
            <p:nvPr/>
          </p:nvSpPr>
          <p:spPr>
            <a:xfrm>
              <a:off x="2645561" y="8915400"/>
              <a:ext cx="1627581" cy="45719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36" name="Rectangle 35"/>
            <p:cNvSpPr/>
            <p:nvPr/>
          </p:nvSpPr>
          <p:spPr>
            <a:xfrm>
              <a:off x="4273142" y="8915401"/>
              <a:ext cx="1627581" cy="45719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4419600" y="396233"/>
            <a:ext cx="4724402" cy="60966"/>
            <a:chOff x="3352800" y="396232"/>
            <a:chExt cx="5791202" cy="60967"/>
          </a:xfrm>
        </p:grpSpPr>
        <p:sp>
          <p:nvSpPr>
            <p:cNvPr id="25" name="Rectangle 24"/>
            <p:cNvSpPr/>
            <p:nvPr/>
          </p:nvSpPr>
          <p:spPr>
            <a:xfrm flipV="1">
              <a:off x="5539820" y="398396"/>
              <a:ext cx="1403250" cy="58803"/>
            </a:xfrm>
            <a:prstGeom prst="rect">
              <a:avLst/>
            </a:prstGeom>
            <a:solidFill>
              <a:srgbClr val="3F344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6" name="Rectangle 25"/>
            <p:cNvSpPr/>
            <p:nvPr/>
          </p:nvSpPr>
          <p:spPr>
            <a:xfrm flipV="1">
              <a:off x="414746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7" name="Rectangle 26"/>
            <p:cNvSpPr/>
            <p:nvPr/>
          </p:nvSpPr>
          <p:spPr>
            <a:xfrm flipV="1">
              <a:off x="6935450" y="398396"/>
              <a:ext cx="1392360" cy="58803"/>
            </a:xfrm>
            <a:prstGeom prst="rect">
              <a:avLst/>
            </a:prstGeom>
            <a:solidFill>
              <a:srgbClr val="B7A66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8" name="Rectangle 27"/>
            <p:cNvSpPr/>
            <p:nvPr/>
          </p:nvSpPr>
          <p:spPr>
            <a:xfrm flipV="1">
              <a:off x="8327810" y="396232"/>
              <a:ext cx="816192" cy="60966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29" name="Rectangle 28"/>
            <p:cNvSpPr/>
            <p:nvPr/>
          </p:nvSpPr>
          <p:spPr>
            <a:xfrm flipV="1">
              <a:off x="3352800" y="398394"/>
              <a:ext cx="794660" cy="58804"/>
            </a:xfrm>
            <a:prstGeom prst="rect">
              <a:avLst/>
            </a:prstGeom>
            <a:solidFill>
              <a:srgbClr val="1045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13212" y="159599"/>
            <a:ext cx="8353425" cy="830997"/>
          </a:xfrm>
        </p:spPr>
        <p:txBody>
          <a:bodyPr/>
          <a:lstStyle/>
          <a:p>
            <a:r>
              <a:rPr lang="en-US" dirty="0" smtClean="0">
                <a:solidFill>
                  <a:srgbClr val="104554"/>
                </a:solidFill>
              </a:rPr>
              <a:t>Statewide Motorcycle Helmet </a:t>
            </a:r>
            <a:br>
              <a:rPr lang="en-US" dirty="0" smtClean="0">
                <a:solidFill>
                  <a:srgbClr val="104554"/>
                </a:solidFill>
              </a:rPr>
            </a:br>
            <a:r>
              <a:rPr lang="en-US" dirty="0" smtClean="0">
                <a:solidFill>
                  <a:srgbClr val="104554"/>
                </a:solidFill>
              </a:rPr>
              <a:t>Use Rates</a:t>
            </a:r>
            <a:endParaRPr lang="en-US" dirty="0">
              <a:solidFill>
                <a:srgbClr val="104554"/>
              </a:solidFill>
            </a:endParaRPr>
          </a:p>
        </p:txBody>
      </p:sp>
      <p:sp>
        <p:nvSpPr>
          <p:cNvPr id="62" name="Slide Number Placeholder 2"/>
          <p:cNvSpPr txBox="1">
            <a:spLocks noChangeAspect="1"/>
          </p:cNvSpPr>
          <p:nvPr/>
        </p:nvSpPr>
        <p:spPr>
          <a:xfrm>
            <a:off x="20252270" y="7077083"/>
            <a:ext cx="140708" cy="70314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0" indent="0" algn="r" defTabSz="914400" rtl="0" eaLnBrk="1" latinLnBrk="0" hangingPunct="1">
              <a:buNone/>
              <a:def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 indent="-276225">
              <a:spcBef>
                <a:spcPts val="900"/>
              </a:spcBef>
            </a:pPr>
            <a:fld id="{126B356D-DBE9-445A-9C43-3D3F41468F04}" type="slidenum">
              <a:rPr lang="en-US" smtClean="0"/>
              <a:pPr lvl="1" indent="-276225">
                <a:spcBef>
                  <a:spcPts val="900"/>
                </a:spcBef>
              </a:pPr>
              <a:t>6</a:t>
            </a:fld>
            <a:endParaRPr lang="en-US" dirty="0"/>
          </a:p>
        </p:txBody>
      </p:sp>
      <p:sp>
        <p:nvSpPr>
          <p:cNvPr id="30" name="Rectangle 29"/>
          <p:cNvSpPr/>
          <p:nvPr/>
        </p:nvSpPr>
        <p:spPr>
          <a:xfrm>
            <a:off x="0" y="6096000"/>
            <a:ext cx="9144000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spcBef>
                <a:spcPct val="20000"/>
              </a:spcBef>
              <a:buClr>
                <a:schemeClr val="accent1"/>
              </a:buClr>
            </a:pPr>
            <a:r>
              <a:rPr lang="en-US" sz="1200" dirty="0" smtClean="0">
                <a:solidFill>
                  <a:srgbClr val="104554"/>
                </a:solidFill>
                <a:latin typeface="Franklin Gothic Book" pitchFamily="34" charset="0"/>
                <a:cs typeface="Arial" pitchFamily="34" charset="0"/>
              </a:rPr>
              <a:t>For more information, contact Katie Womack, kwomack@tamu.edu</a:t>
            </a:r>
            <a:r>
              <a:rPr lang="en-US" sz="1200" dirty="0" smtClean="0">
                <a:solidFill>
                  <a:srgbClr val="1D3362"/>
                </a:solidFill>
                <a:latin typeface="Franklin Gothic Book" pitchFamily="34" charset="0"/>
                <a:cs typeface="Arial" pitchFamily="34" charset="0"/>
              </a:rPr>
              <a:t>.</a:t>
            </a:r>
            <a:endParaRPr lang="en-US" sz="1200" dirty="0">
              <a:solidFill>
                <a:srgbClr val="1D3362"/>
              </a:solidFill>
              <a:latin typeface="Franklin Gothic Book" pitchFamily="34" charset="0"/>
              <a:cs typeface="Arial" pitchFamily="34" charset="0"/>
            </a:endParaRPr>
          </a:p>
        </p:txBody>
      </p:sp>
      <p:graphicFrame>
        <p:nvGraphicFramePr>
          <p:cNvPr id="18" name="Chart 1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04420032"/>
              </p:ext>
            </p:extLst>
          </p:nvPr>
        </p:nvGraphicFramePr>
        <p:xfrm>
          <a:off x="10134600" y="1219200"/>
          <a:ext cx="7924799" cy="411480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3" name="TextBox 2"/>
          <p:cNvSpPr txBox="1"/>
          <p:nvPr/>
        </p:nvSpPr>
        <p:spPr>
          <a:xfrm>
            <a:off x="228600" y="2390001"/>
            <a:ext cx="369332" cy="1572399"/>
          </a:xfrm>
          <a:prstGeom prst="rect">
            <a:avLst/>
          </a:prstGeom>
          <a:noFill/>
        </p:spPr>
        <p:txBody>
          <a:bodyPr vert="vert270" wrap="square" rtlCol="0">
            <a:spAutoFit/>
          </a:bodyPr>
          <a:lstStyle/>
          <a:p>
            <a:r>
              <a:rPr lang="en-US" sz="1200" b="1" dirty="0" smtClean="0"/>
              <a:t>% Helmet Use</a:t>
            </a:r>
          </a:p>
        </p:txBody>
      </p:sp>
      <p:sp>
        <p:nvSpPr>
          <p:cNvPr id="37" name="Rectangle 36"/>
          <p:cNvSpPr/>
          <p:nvPr/>
        </p:nvSpPr>
        <p:spPr>
          <a:xfrm>
            <a:off x="8077200" y="2390001"/>
            <a:ext cx="340659" cy="1524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  <p:sp>
        <p:nvSpPr>
          <p:cNvPr id="38" name="Rectangle 37"/>
          <p:cNvSpPr/>
          <p:nvPr/>
        </p:nvSpPr>
        <p:spPr>
          <a:xfrm>
            <a:off x="8077200" y="5410200"/>
            <a:ext cx="457200" cy="76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13397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8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pkN5a.s0eIRQ1VajZeX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E1_nFA840OlZ.4Wz9RlB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QUdFQdb3k6Pf0.tJe3aj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.ZozDRwkUKmrwVY015d7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jvTlj3QUWGql_i_7LeJ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_Qp5HJoRkumCwRmwVWN2A"/>
</p:tagLst>
</file>

<file path=ppt/theme/theme1.xml><?xml version="1.0" encoding="utf-8"?>
<a:theme xmlns:a="http://schemas.openxmlformats.org/drawingml/2006/main" name="MASTER_powerpoint_template">
  <a:themeElements>
    <a:clrScheme name="Custom 7">
      <a:dk1>
        <a:sysClr val="windowText" lastClr="000000"/>
      </a:dk1>
      <a:lt1>
        <a:sysClr val="window" lastClr="FFFFFF"/>
      </a:lt1>
      <a:dk2>
        <a:srgbClr val="E2E7EB"/>
      </a:dk2>
      <a:lt2>
        <a:srgbClr val="F9EFE0"/>
      </a:lt2>
      <a:accent1>
        <a:srgbClr val="0A1B2B"/>
      </a:accent1>
      <a:accent2>
        <a:srgbClr val="14385C"/>
      </a:accent2>
      <a:accent3>
        <a:srgbClr val="899BAD"/>
      </a:accent3>
      <a:accent4>
        <a:srgbClr val="925700"/>
      </a:accent4>
      <a:accent5>
        <a:srgbClr val="CC7A00"/>
      </a:accent5>
      <a:accent6>
        <a:srgbClr val="E5BC7F"/>
      </a:accent6>
      <a:hlink>
        <a:srgbClr val="042A45"/>
      </a:hlink>
      <a:folHlink>
        <a:srgbClr val="4D4D4D"/>
      </a:folHlink>
    </a:clrScheme>
    <a:fontScheme name="Custom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sz="1200" dirty="0" err="1" smtClean="0">
            <a:latin typeface="Arial" pitchFamily="34" charset="0"/>
            <a:cs typeface="Arial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3523</TotalTime>
  <Words>475</Words>
  <Application>Microsoft Office PowerPoint</Application>
  <PresentationFormat>On-screen Show (4:3)</PresentationFormat>
  <Paragraphs>168</Paragraphs>
  <Slides>6</Slides>
  <Notes>6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8" baseType="lpstr">
      <vt:lpstr>MASTER_powerpoint_template</vt:lpstr>
      <vt:lpstr>think-cell Slide</vt:lpstr>
      <vt:lpstr>Statewide 2018 Safety Belt Use Rates</vt:lpstr>
      <vt:lpstr>Texas 2018 Safety Belt Use by City</vt:lpstr>
      <vt:lpstr>Texas 2018 Nighttime Safety Belt Use by City</vt:lpstr>
      <vt:lpstr>2018 Child Restraint Use in 14 Texas Cities</vt:lpstr>
      <vt:lpstr>2018 School-Age Child Restraint Use in 18 Texas Cities</vt:lpstr>
      <vt:lpstr>Statewide Motorcycle Helmet  Use Rates</vt:lpstr>
    </vt:vector>
  </TitlesOfParts>
  <Company>TxDO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tion Title</dc:title>
  <dc:creator>Alexa Goldberg</dc:creator>
  <cp:lastModifiedBy>Nelson, Alicia</cp:lastModifiedBy>
  <cp:revision>135</cp:revision>
  <cp:lastPrinted>2013-02-21T15:21:56Z</cp:lastPrinted>
  <dcterms:created xsi:type="dcterms:W3CDTF">2014-03-05T15:59:22Z</dcterms:created>
  <dcterms:modified xsi:type="dcterms:W3CDTF">2018-12-17T03:13:57Z</dcterms:modified>
</cp:coreProperties>
</file>